
<file path=[Content_Types].xml><?xml version="1.0" encoding="utf-8"?>
<Types xmlns="http://schemas.openxmlformats.org/package/2006/content-types"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982" r:id="rId5"/>
    <p:sldId id="979" r:id="rId6"/>
  </p:sldIdLst>
  <p:sldSz cx="12192000" cy="6858000"/>
  <p:notesSz cx="7010400" cy="92964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0153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8" autoAdjust="0"/>
    <p:restoredTop sz="94660"/>
  </p:normalViewPr>
  <p:slideViewPr>
    <p:cSldViewPr snapToGrid="0">
      <p:cViewPr varScale="1">
        <p:scale>
          <a:sx n="90" d="100"/>
          <a:sy n="90" d="100"/>
        </p:scale>
        <p:origin x="52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03168-B49E-447C-9902-974E77D285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BCBC1C3-A61C-4C76-8BA2-B687250203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CA49C2-313C-41F5-9786-B437D36B5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841BD-50D3-4B28-BA0F-D0751393B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C2DE510-2034-4B3F-B80B-42B5AEDF3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7319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F6951-0DAA-4A1A-8FC0-2D0BEB4B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B1B35C4-691E-4807-9525-8740B79C45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6D84F66-5545-4E7F-8417-730B84A0D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A6D1080-75C1-429F-B8B1-7B236F654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CF9AF8-03E5-4E02-BDD4-E025E2D83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3439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E5530C5-C550-4B43-A34D-915CFF2974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B36817E-6607-4088-8FB2-DED214E874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0EDC4AA-5BFF-4DD3-A044-0356D1EEC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2CA5FCC-C847-4932-BAE6-5A63B1C81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12325BA-4B13-4A97-9ECC-C40DFF129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049034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B5C49B-E7CD-4078-A65B-1032ECD53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592073-A798-4348-85A9-EC687E4DE9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D4FE5B-71E9-4B8E-B691-1EB18F855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5A22316-7EEA-4FCA-8EFB-4A3BB6978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F59D9D7-1972-493B-985C-2F81DA3AC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081098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3AA8C9-13CD-42A4-8B82-1049A0E83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9B8853-D216-4948-8769-AC5FE5B22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14BF044-AC89-4267-92B2-8AA5723E7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CE2BD0-020A-48B1-88D1-77D7E13DD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13D9E98-960D-42FF-8D8E-EBFD3807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50823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A4A252-C462-4E63-853E-60C82F6CB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AFE4564-C062-4C91-93E0-2ED484CB6C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88A26F6-BD4B-448F-8D42-17DA69A62A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6857E89-9A71-4C37-9E5B-AABD93360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79619E3-1E46-4603-953A-356231770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FCE9178-7B9E-46FA-90B4-57675E643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255662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0253DC-DEAB-4E68-8309-6227C512C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3FF93B7-874B-40E1-8A36-79DA96E4C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DDD857B-9FB4-4862-8CA3-8F6267CE49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BE3AAEA-F2E3-45E8-815F-CCDE353108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3C5D834-4C79-4F55-92E0-7F77ED56D0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46E81A5-26FA-454B-B8D1-639BD73D2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C207A0F5-6F54-48C2-9FFC-A9D8C49C3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EE171E9-CBFF-45B0-95F6-7843ECC25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86639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BE4996-121B-4C3F-A430-D3B229400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4A73020-ECE6-415D-9DEF-4F73A279C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E786C6C-D12B-468A-8D32-74DD36908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6AA9BE-1F60-48C5-B31F-9AD51C467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438065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99F6EAE-C205-4839-BB77-C4A39E1E5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47438A1-B894-4905-8234-A70C455A8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CC2645-F359-4B97-9A61-E3AE430E2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552691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9001B-0ACB-45D5-A237-72B925019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30C7E1A-8E6B-42B1-A940-02BC6CE8CC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AB210EA-23F8-49F0-ABC5-9BE673E91D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7AC66EB-86C1-4ADF-8DFB-2B757F225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104D46C-9745-479A-9A37-0259245F2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44C0C7A-E7A4-4F1D-BB8A-98303C464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450848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FFAA22-D197-48E0-B97B-F34E2291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A5A28A7-C918-4AEB-88AA-34907166F6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566151-E62C-4933-A75B-22B3C688A2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4090E0B-8F1D-4CA0-9D98-75EDF34F2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4F48125-C9D3-487F-A4C0-C90020A0E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9926081-4F07-47A9-8B75-735143051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151034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8876FDA-3A7C-4D9F-9736-287C7944E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A5C374-AEBF-45EB-8795-0B478135AD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8606B92-6A31-4755-907C-BC2E63897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350F979-A102-457D-8AFC-02B6E3B6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E282012-BAB9-45E1-9805-B74809FC6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616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419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fif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13" Type="http://schemas.openxmlformats.org/officeDocument/2006/relationships/image" Target="../media/image7.png"/><Relationship Id="rId3" Type="http://schemas.openxmlformats.org/officeDocument/2006/relationships/tags" Target="../tags/tag3.xml"/><Relationship Id="rId7" Type="http://schemas.openxmlformats.org/officeDocument/2006/relationships/image" Target="../media/image1.jpg"/><Relationship Id="rId12" Type="http://schemas.microsoft.com/office/2007/relationships/hdphoto" Target="../media/hdphoto1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6.png"/><Relationship Id="rId5" Type="http://schemas.openxmlformats.org/officeDocument/2006/relationships/tags" Target="../tags/tag5.xml"/><Relationship Id="rId10" Type="http://schemas.openxmlformats.org/officeDocument/2006/relationships/image" Target="../media/image5.png"/><Relationship Id="rId4" Type="http://schemas.openxmlformats.org/officeDocument/2006/relationships/tags" Target="../tags/tag4.xml"/><Relationship Id="rId9" Type="http://schemas.openxmlformats.org/officeDocument/2006/relationships/image" Target="../media/image3.svg"/><Relationship Id="rId14" Type="http://schemas.microsoft.com/office/2007/relationships/hdphoto" Target="../media/hdphoto2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1854" y="0"/>
            <a:ext cx="12303853" cy="6999528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1</a:t>
            </a:fld>
            <a:endParaRPr lang="es-CO" dirty="0"/>
          </a:p>
        </p:txBody>
      </p:sp>
      <p:sp>
        <p:nvSpPr>
          <p:cNvPr id="35" name="6 Rectángulo">
            <a:extLst>
              <a:ext uri="{FF2B5EF4-FFF2-40B4-BE49-F238E27FC236}">
                <a16:creationId xmlns:a16="http://schemas.microsoft.com/office/drawing/2014/main" id="{7AF90119-7A64-49AF-BA38-39BCDA2D6374}"/>
              </a:ext>
            </a:extLst>
          </p:cNvPr>
          <p:cNvSpPr/>
          <p:nvPr/>
        </p:nvSpPr>
        <p:spPr>
          <a:xfrm>
            <a:off x="145641" y="131705"/>
            <a:ext cx="1193450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MANTENIMIENTO, MEJORAMIENTO Y CONSERVACIÓN DE LA INFRAESTRUCTURA FISICA GENERAL EN EL COPED - COMPLEJO PEDREGAL-MEDELLIN-ANTIOQUIA </a:t>
            </a:r>
          </a:p>
        </p:txBody>
      </p:sp>
      <p:sp>
        <p:nvSpPr>
          <p:cNvPr id="36" name="19 CuadroTexto">
            <a:extLst>
              <a:ext uri="{FF2B5EF4-FFF2-40B4-BE49-F238E27FC236}">
                <a16:creationId xmlns:a16="http://schemas.microsoft.com/office/drawing/2014/main" id="{7A69C17A-BCE4-4A7D-BBD7-F3BAA2C98FEA}"/>
              </a:ext>
            </a:extLst>
          </p:cNvPr>
          <p:cNvSpPr txBox="1"/>
          <p:nvPr/>
        </p:nvSpPr>
        <p:spPr>
          <a:xfrm>
            <a:off x="145641" y="689710"/>
            <a:ext cx="809105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O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ción: DAR CUMPLIMIENTO A LA SENTENCIA </a:t>
            </a:r>
            <a:r>
              <a:rPr lang="fr-FR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LLO  T-762 DE 2015</a:t>
            </a:r>
            <a:r>
              <a:rPr lang="es-CO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endParaRPr lang="es-CO" sz="12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Rectangle 181">
            <a:extLst>
              <a:ext uri="{FF2B5EF4-FFF2-40B4-BE49-F238E27FC236}">
                <a16:creationId xmlns:a16="http://schemas.microsoft.com/office/drawing/2014/main" id="{45A73259-752B-4DC0-8AF9-97AA164A8F3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3788" y="1101173"/>
            <a:ext cx="4287866" cy="28803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S A LA FECHA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CuadroTexto 42">
            <a:extLst>
              <a:ext uri="{FF2B5EF4-FFF2-40B4-BE49-F238E27FC236}">
                <a16:creationId xmlns:a16="http://schemas.microsoft.com/office/drawing/2014/main" id="{C36085D7-7090-4D08-A261-CF279FB68E03}"/>
              </a:ext>
            </a:extLst>
          </p:cNvPr>
          <p:cNvSpPr txBox="1"/>
          <p:nvPr/>
        </p:nvSpPr>
        <p:spPr>
          <a:xfrm>
            <a:off x="375359" y="1399981"/>
            <a:ext cx="4287866" cy="178510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1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ada etapa de verificación y complementación técnica.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1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rminado, con avance del 100%, el contratista se encuentra realizando reparaciones y rematando actividades</a:t>
            </a:r>
          </a:p>
          <a:p>
            <a:pPr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Rectangle 181">
            <a:extLst>
              <a:ext uri="{FF2B5EF4-FFF2-40B4-BE49-F238E27FC236}">
                <a16:creationId xmlns:a16="http://schemas.microsoft.com/office/drawing/2014/main" id="{F5B6BEAD-B3C8-4E98-AF4D-F124787F9028}"/>
              </a:ext>
            </a:extLst>
          </p:cNvPr>
          <p:cNvSpPr>
            <a:spLocks noChangeArrowheads="1"/>
          </p:cNvSpPr>
          <p:nvPr/>
        </p:nvSpPr>
        <p:spPr bwMode="gray">
          <a:xfrm>
            <a:off x="5620366" y="1081752"/>
            <a:ext cx="6187845" cy="28803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CIOS ADICIONALE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0" name="Rectángulo 49">
            <a:extLst>
              <a:ext uri="{FF2B5EF4-FFF2-40B4-BE49-F238E27FC236}">
                <a16:creationId xmlns:a16="http://schemas.microsoft.com/office/drawing/2014/main" id="{5BE6AC58-0EA7-4608-AC8C-7D6EC1D12EE5}"/>
              </a:ext>
            </a:extLst>
          </p:cNvPr>
          <p:cNvSpPr/>
          <p:nvPr/>
        </p:nvSpPr>
        <p:spPr>
          <a:xfrm>
            <a:off x="383788" y="3672916"/>
            <a:ext cx="4279437" cy="229165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51" name="Rectangle 181">
            <a:extLst>
              <a:ext uri="{FF2B5EF4-FFF2-40B4-BE49-F238E27FC236}">
                <a16:creationId xmlns:a16="http://schemas.microsoft.com/office/drawing/2014/main" id="{5286EA09-EC50-4FA7-B8F3-7023ED1B1156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3788" y="3434237"/>
            <a:ext cx="4287866" cy="23867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ERENCIAS GRÁFICA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2" name="28 CuadroTexto">
            <a:extLst>
              <a:ext uri="{FF2B5EF4-FFF2-40B4-BE49-F238E27FC236}">
                <a16:creationId xmlns:a16="http://schemas.microsoft.com/office/drawing/2014/main" id="{27AE8958-27F4-4B2F-A7DB-623E92357C94}"/>
              </a:ext>
            </a:extLst>
          </p:cNvPr>
          <p:cNvSpPr txBox="1"/>
          <p:nvPr/>
        </p:nvSpPr>
        <p:spPr>
          <a:xfrm>
            <a:off x="5620367" y="1386652"/>
            <a:ext cx="6187844" cy="116955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ojamientos y Baños R1 y R2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eldas conyugales se construirán 10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TE en pabellón de mujeres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ncho, Sanidad y almacenamientos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des hidrosanitarias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ntenimiento eléctrico</a:t>
            </a:r>
          </a:p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queaderos motos</a:t>
            </a:r>
          </a:p>
        </p:txBody>
      </p:sp>
      <p:graphicFrame>
        <p:nvGraphicFramePr>
          <p:cNvPr id="53" name="Tabla 52">
            <a:extLst>
              <a:ext uri="{FF2B5EF4-FFF2-40B4-BE49-F238E27FC236}">
                <a16:creationId xmlns:a16="http://schemas.microsoft.com/office/drawing/2014/main" id="{0B35519F-6E4E-46FA-8FBA-EFFC5C4AE5E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1269482"/>
              </p:ext>
            </p:extLst>
          </p:nvPr>
        </p:nvGraphicFramePr>
        <p:xfrm>
          <a:off x="5620366" y="2806483"/>
          <a:ext cx="6325556" cy="320006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62729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982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90730">
                <a:tc>
                  <a:txBody>
                    <a:bodyPr/>
                    <a:lstStyle/>
                    <a:p>
                      <a:pPr algn="l"/>
                      <a:r>
                        <a:rPr lang="es-CO" sz="15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15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15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ción</a:t>
                      </a:r>
                      <a:r>
                        <a:rPr lang="es-CO" sz="1500" b="1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CO" sz="15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s-CO" sz="1200" b="1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icio Etapa</a:t>
                      </a:r>
                      <a:r>
                        <a:rPr lang="es-CO" sz="1200" b="1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1</a:t>
                      </a:r>
                      <a:endParaRPr lang="es-CO" sz="1200" b="1" dirty="0"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1200" b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 de</a:t>
                      </a:r>
                      <a:r>
                        <a:rPr lang="es-CO" sz="1200" b="0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abril </a:t>
                      </a:r>
                      <a:r>
                        <a:rPr lang="es-CO" sz="1200" b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algn="l"/>
                      <a:r>
                        <a:rPr lang="es-CO" sz="1200" b="1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rminación Etapa 1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1200" b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 de junio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817211883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icio Etapa</a:t>
                      </a:r>
                      <a:r>
                        <a:rPr lang="es-CO" sz="1200" b="1" baseline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2 obra</a:t>
                      </a:r>
                      <a:endParaRPr lang="es-CO" sz="1200" b="1" kern="120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1200" b="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3 De julio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r>
                        <a:rPr lang="es-CO" sz="1200" b="1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rminación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12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 de octubre de 201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15303971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r>
                        <a:rPr lang="es-CO" sz="1200" b="1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tor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200" b="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Fonade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200" b="1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Presupuest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3.561.396.497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r>
                        <a:rPr lang="es-CO" sz="1200" b="1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financier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3.561.396.497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9197">
                <a:tc>
                  <a:txBody>
                    <a:bodyPr/>
                    <a:lstStyle/>
                    <a:p>
                      <a:r>
                        <a:rPr lang="es-CO" sz="1200" b="1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de ejecu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CO" sz="1200" b="0" kern="1200" dirty="0">
                          <a:solidFill>
                            <a:schemeClr val="tx1"/>
                          </a:solidFill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85462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s-CO" sz="1200" b="1" kern="1200" dirty="0">
                          <a:latin typeface="+mn-lt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Observaciones</a:t>
                      </a:r>
                      <a:endParaRPr lang="es-CO" sz="1200" b="1" kern="1200" dirty="0">
                        <a:solidFill>
                          <a:schemeClr val="tx1"/>
                        </a:solidFill>
                        <a:latin typeface="+mn-lt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just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s-CO" sz="1000" dirty="0">
                          <a:solidFill>
                            <a:prstClr val="black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l contratista se encuentra en ajuste de observaciones</a:t>
                      </a:r>
                      <a:endParaRPr lang="es-CO" sz="1000" kern="12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54" name="Imagen 53" descr="Vista de un edificio&#10;&#10;Descripción generada automáticamente">
            <a:extLst>
              <a:ext uri="{FF2B5EF4-FFF2-40B4-BE49-F238E27FC236}">
                <a16:creationId xmlns:a16="http://schemas.microsoft.com/office/drawing/2014/main" id="{EBCD93F8-F574-4BA1-A9E2-AB5D646C183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6934" y="3687006"/>
            <a:ext cx="3611950" cy="22730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869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9001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2</a:t>
            </a:fld>
            <a:endParaRPr lang="es-CO" dirty="0"/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E06E5D28-8383-4A65-95CA-0186998376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28192" y="6274768"/>
            <a:ext cx="311151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viación en día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proyección</a:t>
            </a:r>
          </a:p>
        </p:txBody>
      </p:sp>
      <p:sp>
        <p:nvSpPr>
          <p:cNvPr id="44" name="Rectangle 6">
            <a:extLst>
              <a:ext uri="{FF2B5EF4-FFF2-40B4-BE49-F238E27FC236}">
                <a16:creationId xmlns:a16="http://schemas.microsoft.com/office/drawing/2014/main" id="{59B87256-EEC0-438C-9ED1-CCAD7F5827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3945" y="6613330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45" name="Rectangle 6">
            <a:extLst>
              <a:ext uri="{FF2B5EF4-FFF2-40B4-BE49-F238E27FC236}">
                <a16:creationId xmlns:a16="http://schemas.microsoft.com/office/drawing/2014/main" id="{5173BC2F-D0DD-45F6-BF24-87B33BCA1B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94937" y="6602877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sp>
        <p:nvSpPr>
          <p:cNvPr id="50" name="Rectangle 178">
            <a:extLst>
              <a:ext uri="{FF2B5EF4-FFF2-40B4-BE49-F238E27FC236}">
                <a16:creationId xmlns:a16="http://schemas.microsoft.com/office/drawing/2014/main" id="{25E88758-C0C4-463D-8D44-42E974BC82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4896" y="5681569"/>
            <a:ext cx="2783274" cy="43564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Fernando Florez/ Supervisor </a:t>
            </a:r>
            <a:r>
              <a:rPr lang="es-CO" sz="800" dirty="0" err="1"/>
              <a:t>Enterritorio</a:t>
            </a:r>
            <a:endParaRPr lang="es-CO" sz="800" dirty="0"/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5940407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endParaRPr lang="es-CO" sz="8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63" name="2 Grupo">
            <a:extLst>
              <a:ext uri="{FF2B5EF4-FFF2-40B4-BE49-F238E27FC236}">
                <a16:creationId xmlns:a16="http://schemas.microsoft.com/office/drawing/2014/main" id="{0A436F5C-B563-4DEB-9D73-AE3BB0E9202E}"/>
              </a:ext>
            </a:extLst>
          </p:cNvPr>
          <p:cNvGrpSpPr/>
          <p:nvPr/>
        </p:nvGrpSpPr>
        <p:grpSpPr>
          <a:xfrm>
            <a:off x="7618633" y="6205413"/>
            <a:ext cx="1700032" cy="384758"/>
            <a:chOff x="7164287" y="6381328"/>
            <a:chExt cx="1404770" cy="360040"/>
          </a:xfrm>
        </p:grpSpPr>
        <p:sp>
          <p:nvSpPr>
            <p:cNvPr id="64" name="Rectángulo redondeado 31">
              <a:extLst>
                <a:ext uri="{FF2B5EF4-FFF2-40B4-BE49-F238E27FC236}">
                  <a16:creationId xmlns:a16="http://schemas.microsoft.com/office/drawing/2014/main" id="{79DBC480-27B0-4336-8DCC-22829C460735}"/>
                </a:ext>
              </a:extLst>
            </p:cNvPr>
            <p:cNvSpPr/>
            <p:nvPr/>
          </p:nvSpPr>
          <p:spPr>
            <a:xfrm>
              <a:off x="7164287" y="6453336"/>
              <a:ext cx="1298901" cy="2880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5" name="26 Elipse">
              <a:extLst>
                <a:ext uri="{FF2B5EF4-FFF2-40B4-BE49-F238E27FC236}">
                  <a16:creationId xmlns:a16="http://schemas.microsoft.com/office/drawing/2014/main" id="{135BF92E-70F9-4542-9F4B-FA28FFF96CED}"/>
                </a:ext>
              </a:extLst>
            </p:cNvPr>
            <p:cNvSpPr/>
            <p:nvPr/>
          </p:nvSpPr>
          <p:spPr>
            <a:xfrm>
              <a:off x="7968702" y="6529816"/>
              <a:ext cx="176401" cy="151200"/>
            </a:xfrm>
            <a:prstGeom prst="ellipse">
              <a:avLst/>
            </a:prstGeom>
            <a:solidFill>
              <a:srgbClr val="327E46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6" name="32 Elipse">
              <a:extLst>
                <a:ext uri="{FF2B5EF4-FFF2-40B4-BE49-F238E27FC236}">
                  <a16:creationId xmlns:a16="http://schemas.microsoft.com/office/drawing/2014/main" id="{2975A682-145F-4185-A02E-607145390970}"/>
                </a:ext>
              </a:extLst>
            </p:cNvPr>
            <p:cNvSpPr/>
            <p:nvPr/>
          </p:nvSpPr>
          <p:spPr>
            <a:xfrm>
              <a:off x="8244407" y="6529816"/>
              <a:ext cx="176401" cy="15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7" name="1 Rectángulo">
              <a:extLst>
                <a:ext uri="{FF2B5EF4-FFF2-40B4-BE49-F238E27FC236}">
                  <a16:creationId xmlns:a16="http://schemas.microsoft.com/office/drawing/2014/main" id="{B17A7465-E55C-4172-A518-B72CBC88816B}"/>
                </a:ext>
              </a:extLst>
            </p:cNvPr>
            <p:cNvSpPr/>
            <p:nvPr/>
          </p:nvSpPr>
          <p:spPr>
            <a:xfrm>
              <a:off x="7335864" y="6381328"/>
              <a:ext cx="987770" cy="17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600" b="1" cap="all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máforo</a:t>
              </a:r>
            </a:p>
          </p:txBody>
        </p:sp>
        <p:sp>
          <p:nvSpPr>
            <p:cNvPr id="68" name="34 Rectángulo">
              <a:extLst>
                <a:ext uri="{FF2B5EF4-FFF2-40B4-BE49-F238E27FC236}">
                  <a16:creationId xmlns:a16="http://schemas.microsoft.com/office/drawing/2014/main" id="{7DF525E9-28A4-4DE0-ACE9-D7FBCF894A60}"/>
                </a:ext>
              </a:extLst>
            </p:cNvPr>
            <p:cNvSpPr/>
            <p:nvPr/>
          </p:nvSpPr>
          <p:spPr>
            <a:xfrm>
              <a:off x="8101513" y="6497501"/>
              <a:ext cx="467544" cy="201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800" b="1" cap="all" dirty="0">
                  <a:solidFill>
                    <a:prstClr val="black"/>
                  </a:solidFill>
                  <a:latin typeface="Arial" pitchFamily="34" charset="0"/>
                  <a:ea typeface="Verdana" panose="020B0604030504040204" pitchFamily="34" charset="0"/>
                  <a:cs typeface="Arial" pitchFamily="34" charset="0"/>
                </a:rPr>
                <a:t>N/A</a:t>
              </a:r>
            </a:p>
          </p:txBody>
        </p:sp>
      </p:grpSp>
      <p:sp>
        <p:nvSpPr>
          <p:cNvPr id="70" name="149 Extracto">
            <a:extLst>
              <a:ext uri="{FF2B5EF4-FFF2-40B4-BE49-F238E27FC236}">
                <a16:creationId xmlns:a16="http://schemas.microsoft.com/office/drawing/2014/main" id="{B1EEB487-4E3B-4A83-87AF-0D6BD2545306}"/>
              </a:ext>
            </a:extLst>
          </p:cNvPr>
          <p:cNvSpPr/>
          <p:nvPr/>
        </p:nvSpPr>
        <p:spPr>
          <a:xfrm>
            <a:off x="7772346" y="636066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71" name="150 Proceso">
            <a:extLst>
              <a:ext uri="{FF2B5EF4-FFF2-40B4-BE49-F238E27FC236}">
                <a16:creationId xmlns:a16="http://schemas.microsoft.com/office/drawing/2014/main" id="{3FBFCC2E-CF3D-4F21-AA6D-E56C52A0D3C7}"/>
              </a:ext>
            </a:extLst>
          </p:cNvPr>
          <p:cNvSpPr/>
          <p:nvPr/>
        </p:nvSpPr>
        <p:spPr>
          <a:xfrm>
            <a:off x="8179104" y="6369724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133" name="6 Rectángulo">
            <a:extLst>
              <a:ext uri="{FF2B5EF4-FFF2-40B4-BE49-F238E27FC236}">
                <a16:creationId xmlns:a16="http://schemas.microsoft.com/office/drawing/2014/main" id="{146A80EB-AEAF-4D58-B19C-6811FEA4E5F7}"/>
              </a:ext>
            </a:extLst>
          </p:cNvPr>
          <p:cNvSpPr/>
          <p:nvPr/>
        </p:nvSpPr>
        <p:spPr>
          <a:xfrm>
            <a:off x="113980" y="362209"/>
            <a:ext cx="790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a: </a:t>
            </a:r>
            <a:r>
              <a:rPr lang="es-CO" sz="14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MPLIMIENTO A LA SENTENCIA FALLO  T-762 DE 2015 </a:t>
            </a:r>
            <a:endParaRPr lang="es-CO" sz="1600" b="1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34" name="Group 120">
            <a:extLst>
              <a:ext uri="{FF2B5EF4-FFF2-40B4-BE49-F238E27FC236}">
                <a16:creationId xmlns:a16="http://schemas.microsoft.com/office/drawing/2014/main" id="{D8EDE30C-BDF8-4528-B00D-F31D14B2B44F}"/>
              </a:ext>
            </a:extLst>
          </p:cNvPr>
          <p:cNvGrpSpPr>
            <a:grpSpLocks/>
          </p:cNvGrpSpPr>
          <p:nvPr/>
        </p:nvGrpSpPr>
        <p:grpSpPr bwMode="auto">
          <a:xfrm>
            <a:off x="8654694" y="-37132"/>
            <a:ext cx="2771299" cy="1125172"/>
            <a:chOff x="4071" y="1279"/>
            <a:chExt cx="1124" cy="350"/>
          </a:xfrm>
        </p:grpSpPr>
        <p:pic>
          <p:nvPicPr>
            <p:cNvPr id="135" name="Picture 121" descr="j0432549">
              <a:extLst>
                <a:ext uri="{FF2B5EF4-FFF2-40B4-BE49-F238E27FC236}">
                  <a16:creationId xmlns:a16="http://schemas.microsoft.com/office/drawing/2014/main" id="{B73E540B-81BE-49BF-955B-432A36DE6D0F}"/>
                </a:ext>
              </a:extLst>
            </p:cNvPr>
            <p:cNvPicPr>
              <a:picLocks noChangeArrowheads="1"/>
            </p:cNvPicPr>
            <p:nvPr>
              <p:custDataLst>
                <p:tags r:id="rId3"/>
              </p:custDataLst>
            </p:nvPr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82" y="1279"/>
              <a:ext cx="313" cy="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6" name="Oval 125">
              <a:extLst>
                <a:ext uri="{FF2B5EF4-FFF2-40B4-BE49-F238E27FC236}">
                  <a16:creationId xmlns:a16="http://schemas.microsoft.com/office/drawing/2014/main" id="{E552F77C-3815-4AA5-B447-E76C0118DD77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 rot="10800000">
              <a:off x="4073" y="1566"/>
              <a:ext cx="38" cy="22"/>
            </a:xfrm>
            <a:prstGeom prst="ellipse">
              <a:avLst/>
            </a:prstGeom>
            <a:solidFill>
              <a:schemeClr val="bg2">
                <a:alpha val="3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MX" sz="1051" dirty="0">
                <a:solidFill>
                  <a:prstClr val="black"/>
                </a:solidFill>
              </a:endParaRPr>
            </a:p>
          </p:txBody>
        </p:sp>
        <p:sp>
          <p:nvSpPr>
            <p:cNvPr id="137" name="Oval 133">
              <a:extLst>
                <a:ext uri="{FF2B5EF4-FFF2-40B4-BE49-F238E27FC236}">
                  <a16:creationId xmlns:a16="http://schemas.microsoft.com/office/drawing/2014/main" id="{F87D036A-B672-41CF-98F6-36EDB75DA2C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 rot="10800000">
              <a:off x="4071" y="1366"/>
              <a:ext cx="40" cy="22"/>
            </a:xfrm>
            <a:prstGeom prst="ellipse">
              <a:avLst/>
            </a:prstGeom>
            <a:solidFill>
              <a:schemeClr val="bg2">
                <a:alpha val="3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MX" sz="1051" dirty="0">
                <a:solidFill>
                  <a:prstClr val="black"/>
                </a:solidFill>
              </a:endParaRPr>
            </a:p>
          </p:txBody>
        </p:sp>
      </p:grpSp>
      <p:sp>
        <p:nvSpPr>
          <p:cNvPr id="138" name="Rectangle 181">
            <a:extLst>
              <a:ext uri="{FF2B5EF4-FFF2-40B4-BE49-F238E27FC236}">
                <a16:creationId xmlns:a16="http://schemas.microsoft.com/office/drawing/2014/main" id="{2A82E97F-8DAB-4961-9475-6B7D09971F99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7009" y="3954018"/>
            <a:ext cx="3028507" cy="238107"/>
          </a:xfrm>
          <a:prstGeom prst="rect">
            <a:avLst/>
          </a:prstGeom>
          <a:solidFill>
            <a:schemeClr val="bg1">
              <a:lumMod val="65000"/>
            </a:schemeClr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isiones a tomar</a:t>
            </a:r>
          </a:p>
        </p:txBody>
      </p:sp>
      <p:sp>
        <p:nvSpPr>
          <p:cNvPr id="139" name="Rectangle 178">
            <a:extLst>
              <a:ext uri="{FF2B5EF4-FFF2-40B4-BE49-F238E27FC236}">
                <a16:creationId xmlns:a16="http://schemas.microsoft.com/office/drawing/2014/main" id="{B5E16312-C124-4B51-A7B7-33D38CC4D7BF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7009" y="4222273"/>
            <a:ext cx="3028507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0" name="Rectangle 181">
            <a:extLst>
              <a:ext uri="{FF2B5EF4-FFF2-40B4-BE49-F238E27FC236}">
                <a16:creationId xmlns:a16="http://schemas.microsoft.com/office/drawing/2014/main" id="{C8F6C938-B364-4540-808A-AD9E5A8BF95D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9492" y="3377121"/>
            <a:ext cx="3316979" cy="2535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Ejecución Financiera</a:t>
            </a:r>
          </a:p>
        </p:txBody>
      </p:sp>
      <p:grpSp>
        <p:nvGrpSpPr>
          <p:cNvPr id="141" name="Group 51">
            <a:extLst>
              <a:ext uri="{FF2B5EF4-FFF2-40B4-BE49-F238E27FC236}">
                <a16:creationId xmlns:a16="http://schemas.microsoft.com/office/drawing/2014/main" id="{3F3FE949-D882-4400-A7A5-F4E89117E770}"/>
              </a:ext>
            </a:extLst>
          </p:cNvPr>
          <p:cNvGrpSpPr/>
          <p:nvPr/>
        </p:nvGrpSpPr>
        <p:grpSpPr>
          <a:xfrm>
            <a:off x="3900184" y="3938600"/>
            <a:ext cx="2926080" cy="2079873"/>
            <a:chOff x="2981481" y="3803867"/>
            <a:chExt cx="2926080" cy="2079873"/>
          </a:xfrm>
          <a:noFill/>
        </p:grpSpPr>
        <p:sp>
          <p:nvSpPr>
            <p:cNvPr id="142" name="Rectangle 181">
              <a:extLst>
                <a:ext uri="{FF2B5EF4-FFF2-40B4-BE49-F238E27FC236}">
                  <a16:creationId xmlns:a16="http://schemas.microsoft.com/office/drawing/2014/main" id="{3DAB2132-AC4E-4274-822A-E97A30AAE3D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3803867"/>
              <a:ext cx="2926080" cy="25352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 w="9525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lIns="237744" rIns="0" anchor="ctr"/>
            <a:lstStyle/>
            <a:p>
              <a:pPr algn="ctr"/>
              <a:r>
                <a:rPr lang="en-US" sz="1051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iesgos y acciones tomadas</a:t>
              </a:r>
            </a:p>
          </p:txBody>
        </p:sp>
        <p:sp>
          <p:nvSpPr>
            <p:cNvPr id="143" name="Rectangle 178">
              <a:extLst>
                <a:ext uri="{FF2B5EF4-FFF2-40B4-BE49-F238E27FC236}">
                  <a16:creationId xmlns:a16="http://schemas.microsoft.com/office/drawing/2014/main" id="{EE15BFB6-62E6-4071-90D8-9B764428491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4128102"/>
              <a:ext cx="2926080" cy="1755638"/>
            </a:xfrm>
            <a:prstGeom prst="rect">
              <a:avLst/>
            </a:prstGeom>
            <a:grpFill/>
            <a:ln w="9525">
              <a:solidFill>
                <a:schemeClr val="bg1">
                  <a:lumMod val="65000"/>
                </a:schemeClr>
              </a:solidFill>
              <a:prstDash val="sysDash"/>
              <a:miter lim="800000"/>
              <a:headEnd/>
              <a:tailEnd/>
            </a:ln>
          </p:spPr>
          <p:txBody>
            <a:bodyPr lIns="45720" tIns="91440" rIns="45720"/>
            <a:lstStyle/>
            <a:p>
              <a:pPr marL="228594" indent="-228594"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20000"/>
                <a:buFont typeface="Arial" pitchFamily="34" charset="0"/>
                <a:buChar char="•"/>
              </a:pPr>
              <a:endParaRPr lang="en-US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44" name="Rectangle 178">
            <a:extLst>
              <a:ext uri="{FF2B5EF4-FFF2-40B4-BE49-F238E27FC236}">
                <a16:creationId xmlns:a16="http://schemas.microsoft.com/office/drawing/2014/main" id="{3D5BDA80-2A3F-495F-AE85-B0162F3FBA51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76049" y="4301742"/>
            <a:ext cx="2760311" cy="1159492"/>
          </a:xfrm>
          <a:prstGeom prst="rect">
            <a:avLst/>
          </a:prstGeom>
          <a:noFill/>
          <a:ln w="9525">
            <a:noFill/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s-ES" sz="9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esgos:</a:t>
            </a:r>
            <a:r>
              <a:rPr lang="es-ES" sz="9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ubsanaciones pendientes (remates de obra) y reparaciones a conformidad.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s-ES" sz="9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iones:</a:t>
            </a:r>
            <a:r>
              <a:rPr lang="es-ES" sz="9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eguimiento continuo por a través de la interventoría</a:t>
            </a:r>
            <a:endParaRPr lang="es-419" sz="900" dirty="0"/>
          </a:p>
        </p:txBody>
      </p:sp>
      <p:sp>
        <p:nvSpPr>
          <p:cNvPr id="145" name="Rectangle 181">
            <a:extLst>
              <a:ext uri="{FF2B5EF4-FFF2-40B4-BE49-F238E27FC236}">
                <a16:creationId xmlns:a16="http://schemas.microsoft.com/office/drawing/2014/main" id="{4BDD8189-6692-4E06-95CF-706C6E3632D8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5430" y="970966"/>
            <a:ext cx="3350480" cy="2535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 proyectado vs. </a:t>
            </a:r>
            <a:r>
              <a:rPr lang="en-US" sz="1051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</a:t>
            </a:r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l</a:t>
            </a:r>
          </a:p>
        </p:txBody>
      </p:sp>
      <p:sp>
        <p:nvSpPr>
          <p:cNvPr id="146" name="Rectangle 181">
            <a:extLst>
              <a:ext uri="{FF2B5EF4-FFF2-40B4-BE49-F238E27FC236}">
                <a16:creationId xmlns:a16="http://schemas.microsoft.com/office/drawing/2014/main" id="{7854A10E-6002-4685-8E11-F189EF46D540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48281" y="970965"/>
            <a:ext cx="3505164" cy="253525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hitos</a:t>
            </a:r>
          </a:p>
        </p:txBody>
      </p:sp>
      <p:sp>
        <p:nvSpPr>
          <p:cNvPr id="147" name="Rectangle 184">
            <a:extLst>
              <a:ext uri="{FF2B5EF4-FFF2-40B4-BE49-F238E27FC236}">
                <a16:creationId xmlns:a16="http://schemas.microsoft.com/office/drawing/2014/main" id="{ADFBE2D8-BFB6-42D0-B133-5F5E50066F8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48280" y="1231128"/>
            <a:ext cx="3505164" cy="2267000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o de etapa de verificación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n etapa de verificación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icio de Etapa de construcción</a:t>
            </a:r>
          </a:p>
          <a:p>
            <a:pPr marL="171450" indent="-171450" defTabSz="457200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n etapa de construcción </a:t>
            </a:r>
          </a:p>
          <a:p>
            <a:pPr defTabSz="457200" fontAlgn="ctr"/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200" fontAlgn="ctr"/>
            <a:endParaRPr lang="es-CO" sz="10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defTabSz="457200" fontAlgn="ctr"/>
            <a:endParaRPr lang="es-CO" sz="9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8" name="Rectangle 186">
            <a:extLst>
              <a:ext uri="{FF2B5EF4-FFF2-40B4-BE49-F238E27FC236}">
                <a16:creationId xmlns:a16="http://schemas.microsoft.com/office/drawing/2014/main" id="{A0B2989C-0A2F-4D96-B441-70BE8C3F9FA0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725360" y="966827"/>
            <a:ext cx="848660" cy="26430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on.</a:t>
            </a:r>
          </a:p>
        </p:txBody>
      </p:sp>
      <p:sp>
        <p:nvSpPr>
          <p:cNvPr id="149" name="Rectangle 186">
            <a:extLst>
              <a:ext uri="{FF2B5EF4-FFF2-40B4-BE49-F238E27FC236}">
                <a16:creationId xmlns:a16="http://schemas.microsoft.com/office/drawing/2014/main" id="{1400E630-73BC-4A9A-A009-10389A59369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725359" y="1243571"/>
            <a:ext cx="848659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bril 16/18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nio16/18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lio 03/18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 err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ubre</a:t>
            </a: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16/19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0" name="Rectangle 186">
            <a:extLst>
              <a:ext uri="{FF2B5EF4-FFF2-40B4-BE49-F238E27FC236}">
                <a16:creationId xmlns:a16="http://schemas.microsoft.com/office/drawing/2014/main" id="{61C4E49F-1F97-4F0E-B66D-0FCE1113C886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761393" y="966827"/>
            <a:ext cx="578312" cy="26430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fase</a:t>
            </a:r>
          </a:p>
        </p:txBody>
      </p:sp>
      <p:sp>
        <p:nvSpPr>
          <p:cNvPr id="151" name="Rectangle 186">
            <a:extLst>
              <a:ext uri="{FF2B5EF4-FFF2-40B4-BE49-F238E27FC236}">
                <a16:creationId xmlns:a16="http://schemas.microsoft.com/office/drawing/2014/main" id="{56B9B73D-12D0-40D1-97B0-ED6F0D2546F5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740353" y="1241891"/>
            <a:ext cx="578312" cy="2240632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2" name="Rectangle 183">
            <a:extLst>
              <a:ext uri="{FF2B5EF4-FFF2-40B4-BE49-F238E27FC236}">
                <a16:creationId xmlns:a16="http://schemas.microsoft.com/office/drawing/2014/main" id="{F5AB9127-11FE-416E-910B-BA820DFA0FA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611620" y="966827"/>
            <a:ext cx="498009" cy="245529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</a:t>
            </a:r>
          </a:p>
        </p:txBody>
      </p:sp>
      <p:sp>
        <p:nvSpPr>
          <p:cNvPr id="153" name="Rectangle 186">
            <a:extLst>
              <a:ext uri="{FF2B5EF4-FFF2-40B4-BE49-F238E27FC236}">
                <a16:creationId xmlns:a16="http://schemas.microsoft.com/office/drawing/2014/main" id="{557B9668-B916-4A07-A742-4D8AC1CC9512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611620" y="1225663"/>
            <a:ext cx="49389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82875" indent="-182875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54" name="Imagen 153" descr="Imagen que contiene texto, mapa&#10;&#10;Descripción generada automáticamente">
            <a:extLst>
              <a:ext uri="{FF2B5EF4-FFF2-40B4-BE49-F238E27FC236}">
                <a16:creationId xmlns:a16="http://schemas.microsoft.com/office/drawing/2014/main" id="{1F23CADD-9B34-4F7C-BDD0-FCBBF808A8B8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54896" y="3742774"/>
            <a:ext cx="3337950" cy="175563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55" name="Imagen 154" descr="Imagen que contiene texto&#10;&#10;Descripción generada automáticamente">
            <a:extLst>
              <a:ext uri="{FF2B5EF4-FFF2-40B4-BE49-F238E27FC236}">
                <a16:creationId xmlns:a16="http://schemas.microsoft.com/office/drawing/2014/main" id="{1ED79B3D-0D10-4751-BA26-0159595D1380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5430" y="1309298"/>
            <a:ext cx="3348253" cy="151724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56" name="26 Elipse">
            <a:extLst>
              <a:ext uri="{FF2B5EF4-FFF2-40B4-BE49-F238E27FC236}">
                <a16:creationId xmlns:a16="http://schemas.microsoft.com/office/drawing/2014/main" id="{6BF1CC48-5D7F-4248-9221-3E99632D7B4E}"/>
              </a:ext>
            </a:extLst>
          </p:cNvPr>
          <p:cNvSpPr/>
          <p:nvPr/>
        </p:nvSpPr>
        <p:spPr>
          <a:xfrm>
            <a:off x="9751829" y="1471357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157" name="26 Elipse">
            <a:extLst>
              <a:ext uri="{FF2B5EF4-FFF2-40B4-BE49-F238E27FC236}">
                <a16:creationId xmlns:a16="http://schemas.microsoft.com/office/drawing/2014/main" id="{1F78893E-D113-408D-9E3A-D8B885A2DB03}"/>
              </a:ext>
            </a:extLst>
          </p:cNvPr>
          <p:cNvSpPr/>
          <p:nvPr/>
        </p:nvSpPr>
        <p:spPr>
          <a:xfrm>
            <a:off x="9751611" y="2149757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158" name="Oval 131">
            <a:extLst>
              <a:ext uri="{FF2B5EF4-FFF2-40B4-BE49-F238E27FC236}">
                <a16:creationId xmlns:a16="http://schemas.microsoft.com/office/drawing/2014/main" id="{04A44F03-AF96-4A2F-9F40-5BD0CC46DF0F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0953835" y="432091"/>
            <a:ext cx="178356" cy="26419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es-MX" sz="1051" dirty="0">
              <a:solidFill>
                <a:prstClr val="black"/>
              </a:solidFill>
            </a:endParaRPr>
          </a:p>
        </p:txBody>
      </p:sp>
      <p:sp>
        <p:nvSpPr>
          <p:cNvPr id="159" name="Oval 131">
            <a:extLst>
              <a:ext uri="{FF2B5EF4-FFF2-40B4-BE49-F238E27FC236}">
                <a16:creationId xmlns:a16="http://schemas.microsoft.com/office/drawing/2014/main" id="{5029FB37-0C81-42D8-96E8-C0C9CE233740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953835" y="117562"/>
            <a:ext cx="178356" cy="264195"/>
          </a:xfrm>
          <a:prstGeom prst="ellipse">
            <a:avLst/>
          </a:prstGeom>
          <a:solidFill>
            <a:schemeClr val="tx1"/>
          </a:solidFill>
          <a:ln>
            <a:noFill/>
          </a:ln>
          <a:effectLst/>
        </p:spPr>
        <p:txBody>
          <a:bodyPr wrap="none" anchor="ctr"/>
          <a:lstStyle/>
          <a:p>
            <a:endParaRPr lang="es-MX" sz="105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172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1aZLETAeU.54Z91u7Se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B_Lj_bE6SuG_W7A.N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5AE79D6F62744A90ED38F7A4107209" ma:contentTypeVersion="8" ma:contentTypeDescription="Create a new document." ma:contentTypeScope="" ma:versionID="c0583f2f575c464155c1962f22a9c21d">
  <xsd:schema xmlns:xsd="http://www.w3.org/2001/XMLSchema" xmlns:xs="http://www.w3.org/2001/XMLSchema" xmlns:p="http://schemas.microsoft.com/office/2006/metadata/properties" xmlns:ns3="0381c238-0115-4676-9eac-af3b642ab3a9" targetNamespace="http://schemas.microsoft.com/office/2006/metadata/properties" ma:root="true" ma:fieldsID="b3cfb08cb5f9b9908e5dd0ed550ec1a0" ns3:_="">
    <xsd:import namespace="0381c238-0115-4676-9eac-af3b642ab3a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81c238-0115-4676-9eac-af3b642ab3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F892A36-F7E2-458C-BF50-9C0D0DBB86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81c238-0115-4676-9eac-af3b642ab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26CAC43-FD0A-4CFB-A12C-A955837C744A}">
  <ds:schemaRefs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0381c238-0115-4676-9eac-af3b642ab3a9"/>
    <ds:schemaRef ds:uri="http://schemas.microsoft.com/office/2006/metadata/properties"/>
    <ds:schemaRef ds:uri="http://purl.org/dc/elements/1.1/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307AD7B-8C70-4A8D-8508-A4A33D9C3A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04</TotalTime>
  <Words>249</Words>
  <Application>Microsoft Office PowerPoint</Application>
  <PresentationFormat>Panorámica</PresentationFormat>
  <Paragraphs>80</Paragraphs>
  <Slides>2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Verdana</vt:lpstr>
      <vt:lpstr>Wingdings</vt:lpstr>
      <vt:lpstr>Tema de Office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Milena Castaneda Moreno</dc:creator>
  <cp:lastModifiedBy>HP</cp:lastModifiedBy>
  <cp:revision>62</cp:revision>
  <cp:lastPrinted>2019-10-29T22:15:30Z</cp:lastPrinted>
  <dcterms:created xsi:type="dcterms:W3CDTF">2019-06-28T15:32:40Z</dcterms:created>
  <dcterms:modified xsi:type="dcterms:W3CDTF">2020-04-14T01:02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5AE79D6F62744A90ED38F7A4107209</vt:lpwstr>
  </property>
</Properties>
</file>